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49" r:id="rId1"/>
  </p:sldMasterIdLst>
  <p:notesMasterIdLst>
    <p:notesMasterId r:id="rId3"/>
  </p:notesMasterIdLst>
  <p:handoutMasterIdLst>
    <p:handoutMasterId r:id="rId4"/>
  </p:handoutMasterIdLst>
  <p:sldIdLst>
    <p:sldId id="432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2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e de Vries" initials="AdV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200"/>
    <a:srgbClr val="53565A"/>
    <a:srgbClr val="75787B"/>
    <a:srgbClr val="0073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5BE263C-DBD7-4A20-BB59-AAB30ACAA65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6765" autoAdjust="0"/>
    <p:restoredTop sz="73871" autoAdjust="0"/>
  </p:normalViewPr>
  <p:slideViewPr>
    <p:cSldViewPr snapToGrid="0" snapToObjects="1">
      <p:cViewPr>
        <p:scale>
          <a:sx n="81" d="100"/>
          <a:sy n="81" d="100"/>
        </p:scale>
        <p:origin x="-72" y="-72"/>
      </p:cViewPr>
      <p:guideLst>
        <p:guide orient="horz" pos="2160"/>
        <p:guide pos="2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6" d="100"/>
          <a:sy n="86" d="100"/>
        </p:scale>
        <p:origin x="-311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02265D-837A-A14B-BBEF-C1CB0F1E21C3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9BA5B2-46F1-2947-AA03-6D81CAA6062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260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3D8B3D-16D8-8442-BF0D-A4264232110E}" type="datetimeFigureOut">
              <a:rPr lang="en-US" smtClean="0"/>
              <a:pPr/>
              <a:t>6/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3AC270-AC5F-3C4A-8BE2-E88211726A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6943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8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7.jpe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27" name="Picture 3" descr="Elsevier_W_Research_Information_1b_aw.eps"/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709826"/>
            <a:ext cx="5483225" cy="527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Click to add author’s name and job title</a:t>
            </a:r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</a:t>
            </a:r>
            <a:endParaRPr lang="en-US" dirty="0"/>
          </a:p>
        </p:txBody>
      </p:sp>
      <p:pic>
        <p:nvPicPr>
          <p:cNvPr id="2050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57175" y="5303344"/>
            <a:ext cx="3508375" cy="440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7431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s &amp; 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625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alves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3225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7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5153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261236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63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17462" y="2658533"/>
            <a:ext cx="916146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4800" y="2658534"/>
            <a:ext cx="1717200" cy="17172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1623129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2659666"/>
            <a:ext cx="917892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3289" y="2658533"/>
            <a:ext cx="1715633" cy="1715633"/>
          </a:xfrm>
          <a:prstGeom prst="rect">
            <a:avLst/>
          </a:prstGeom>
        </p:spPr>
      </p:pic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271062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499" y="2658532"/>
            <a:ext cx="1714501" cy="1714501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3017860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70" y="-8313"/>
            <a:ext cx="6691477" cy="6866313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2658533"/>
            <a:ext cx="1714500" cy="1714500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18142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2659500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8400" y="2660400"/>
            <a:ext cx="1713600" cy="1713600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</p:spTree>
    <p:extLst>
      <p:ext uri="{BB962C8B-B14F-4D97-AF65-F5344CB8AC3E}">
        <p14:creationId xmlns:p14="http://schemas.microsoft.com/office/powerpoint/2010/main" val="1225954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21"/>
          <p:cNvSpPr txBox="1">
            <a:spLocks noChangeArrowheads="1"/>
          </p:cNvSpPr>
          <p:nvPr userDrawn="1"/>
        </p:nvSpPr>
        <p:spPr bwMode="auto">
          <a:xfrm>
            <a:off x="300038" y="6321425"/>
            <a:ext cx="40890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rgbClr val="FF8200"/>
                </a:solidFill>
                <a:latin typeface="NexusSansOT" pitchFamily="-104" charset="0"/>
              </a:rPr>
              <a:t>www.elsevier.com/research-intelligence</a:t>
            </a:r>
            <a:endParaRPr lang="en-US" sz="1400" dirty="0">
              <a:solidFill>
                <a:srgbClr val="53565A"/>
              </a:solidFill>
              <a:latin typeface="NexusSansOT" pitchFamily="-10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End slide</a:t>
            </a:r>
          </a:p>
        </p:txBody>
      </p:sp>
      <p:pic>
        <p:nvPicPr>
          <p:cNvPr id="14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336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9295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8" y="283"/>
            <a:ext cx="9143243" cy="68574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4928" y="2910351"/>
            <a:ext cx="7772400" cy="72276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over Slide Title</a:t>
            </a:r>
            <a:br>
              <a:rPr lang="en-US" dirty="0" smtClean="0"/>
            </a:br>
            <a:r>
              <a:rPr lang="en-US" dirty="0" smtClean="0"/>
              <a:t>Second Line If Necessary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412" y="3665542"/>
            <a:ext cx="3675062" cy="4079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mtClean="0"/>
              <a:t>Subtitle of presentatio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66800" y="4401798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252412" y="4400662"/>
            <a:ext cx="10940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or(s):</a:t>
            </a:r>
            <a:endParaRPr lang="en-US" sz="120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066800" y="4725536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XX_XX_XX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49691" y="4724400"/>
            <a:ext cx="10940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:</a:t>
            </a:r>
            <a:endParaRPr lang="en-US" sz="120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244928" y="6019800"/>
            <a:ext cx="7772400" cy="7227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1" kern="120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600" dirty="0" smtClean="0">
                <a:solidFill>
                  <a:schemeClr val="bg2"/>
                </a:solidFill>
              </a:rPr>
              <a:t>Business Development</a:t>
            </a:r>
          </a:p>
          <a:p>
            <a:r>
              <a:rPr lang="en-US" sz="2000" dirty="0" smtClean="0">
                <a:solidFill>
                  <a:schemeClr val="bg2"/>
                </a:solidFill>
              </a:rPr>
              <a:t>Research Solutions Sales</a:t>
            </a:r>
            <a:endParaRPr lang="en-US" sz="2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0459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16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3" descr="header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9"/>
          <p:cNvSpPr txBox="1">
            <a:spLocks noChangeArrowheads="1"/>
          </p:cNvSpPr>
          <p:nvPr/>
        </p:nvSpPr>
        <p:spPr bwMode="auto">
          <a:xfrm>
            <a:off x="6800850" y="92075"/>
            <a:ext cx="17716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defRPr/>
            </a:pPr>
            <a:r>
              <a:rPr lang="en-US" altLang="en-US" sz="700" smtClean="0">
                <a:solidFill>
                  <a:srgbClr val="FFFFFF"/>
                </a:solidFill>
                <a:latin typeface="Arial" pitchFamily="34" charset="0"/>
              </a:rPr>
              <a:t>Introductory meeting</a:t>
            </a:r>
          </a:p>
        </p:txBody>
      </p:sp>
      <p:sp>
        <p:nvSpPr>
          <p:cNvPr id="8" name="TextBox 10"/>
          <p:cNvSpPr txBox="1">
            <a:spLocks noChangeArrowheads="1"/>
          </p:cNvSpPr>
          <p:nvPr/>
        </p:nvSpPr>
        <p:spPr bwMode="auto">
          <a:xfrm>
            <a:off x="8531225" y="90488"/>
            <a:ext cx="2698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US" altLang="en-US" sz="700" smtClean="0">
                <a:solidFill>
                  <a:srgbClr val="FFFFFF"/>
                </a:solidFill>
                <a:latin typeface="Lucida Sans Unicode" pitchFamily="34" charset="0"/>
                <a:cs typeface="Lucida Sans Unicode" pitchFamily="34" charset="0"/>
              </a:rPr>
              <a:t> |</a:t>
            </a:r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12"/>
          <p:cNvGrpSpPr>
            <a:grpSpLocks/>
          </p:cNvGrpSpPr>
          <p:nvPr userDrawn="1"/>
        </p:nvGrpSpPr>
        <p:grpSpPr bwMode="auto">
          <a:xfrm>
            <a:off x="7899400" y="347663"/>
            <a:ext cx="914400" cy="1009650"/>
            <a:chOff x="7899400" y="347947"/>
            <a:chExt cx="914400" cy="1010004"/>
          </a:xfrm>
        </p:grpSpPr>
        <p:pic>
          <p:nvPicPr>
            <p:cNvPr id="11" name="Picture 14" descr="ELS_NS_Logo_1C_White_RGB.png"/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99400" y="347947"/>
              <a:ext cx="914400" cy="10100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5" descr="ELS_NS_Logo_1C_White_RGB.png"/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99400" y="347947"/>
              <a:ext cx="914400" cy="10100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5055" y="1728080"/>
            <a:ext cx="7772400" cy="503491"/>
          </a:xfrm>
        </p:spPr>
        <p:txBody>
          <a:bodyPr anchor="t">
            <a:noAutofit/>
          </a:bodyPr>
          <a:lstStyle>
            <a:lvl1pPr algn="l">
              <a:defRPr sz="28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714375" y="2318657"/>
            <a:ext cx="4567918" cy="2343150"/>
          </a:xfrm>
        </p:spPr>
        <p:txBody>
          <a:bodyPr>
            <a:normAutofit/>
          </a:bodyPr>
          <a:lstStyle>
            <a:lvl1pPr marL="0" indent="0"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3133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457198" y="1500110"/>
            <a:ext cx="8238319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6615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Titl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7"/>
          </p:nvPr>
        </p:nvSpPr>
        <p:spPr>
          <a:xfrm>
            <a:off x="457198" y="1943072"/>
            <a:ext cx="8238319" cy="3765589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290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39090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279525"/>
            <a:ext cx="5939888" cy="48821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dirty="0" smtClean="0"/>
              <a:t>Click to add 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472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07801"/>
            <a:ext cx="9144000" cy="4748784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4930776" y="2861673"/>
            <a:ext cx="3588384" cy="23126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4923692" y="2856398"/>
            <a:ext cx="3582000" cy="232116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Screenshot</a:t>
            </a:r>
            <a:endParaRPr lang="en-GB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90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s &amp; Text Content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2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3440" y="1508124"/>
            <a:ext cx="4251321" cy="4890132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775200" y="1636711"/>
            <a:ext cx="4000500" cy="4619756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8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65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Content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9700" y="1435100"/>
            <a:ext cx="8839200" cy="44577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42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eader.jpg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7513605" y="51329"/>
            <a:ext cx="10696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Open Access</a:t>
            </a:r>
            <a:endParaRPr lang="en-US" sz="11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9547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50" r:id="rId2"/>
    <p:sldLayoutId id="2147483754" r:id="rId3"/>
    <p:sldLayoutId id="2147483753" r:id="rId4"/>
    <p:sldLayoutId id="2147483760" r:id="rId5"/>
    <p:sldLayoutId id="2147483757" r:id="rId6"/>
    <p:sldLayoutId id="2147483759" r:id="rId7"/>
    <p:sldLayoutId id="2147483756" r:id="rId8"/>
    <p:sldLayoutId id="2147483758" r:id="rId9"/>
    <p:sldLayoutId id="2147483769" r:id="rId10"/>
    <p:sldLayoutId id="2147483752" r:id="rId11"/>
    <p:sldLayoutId id="2147483755" r:id="rId12"/>
    <p:sldLayoutId id="2147483764" r:id="rId13"/>
    <p:sldLayoutId id="2147483762" r:id="rId14"/>
    <p:sldLayoutId id="2147483763" r:id="rId15"/>
    <p:sldLayoutId id="2147483765" r:id="rId16"/>
    <p:sldLayoutId id="2147483766" r:id="rId17"/>
    <p:sldLayoutId id="2147483767" r:id="rId18"/>
    <p:sldLayoutId id="2147483768" r:id="rId19"/>
    <p:sldLayoutId id="2147483777" r:id="rId20"/>
    <p:sldLayoutId id="2147483787" r:id="rId2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3565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Arial" pitchFamily="34" charset="0"/>
        <a:buChar char="-"/>
        <a:defRPr sz="1800" kern="1200">
          <a:solidFill>
            <a:srgbClr val="53565A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Courier New" pitchFamily="49" charset="0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63343" y="510387"/>
            <a:ext cx="8238319" cy="418645"/>
          </a:xfrm>
        </p:spPr>
        <p:txBody>
          <a:bodyPr/>
          <a:lstStyle/>
          <a:p>
            <a:r>
              <a:rPr lang="en-GB" sz="2000" dirty="0" smtClean="0"/>
              <a:t>What’s changed in Elsevier's policies? </a:t>
            </a:r>
            <a:endParaRPr lang="en-US" sz="2000" dirty="0"/>
          </a:p>
        </p:txBody>
      </p:sp>
      <p:sp>
        <p:nvSpPr>
          <p:cNvPr id="10" name="TextBox 9"/>
          <p:cNvSpPr txBox="1"/>
          <p:nvPr/>
        </p:nvSpPr>
        <p:spPr>
          <a:xfrm>
            <a:off x="2562896" y="189319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3142060"/>
              </p:ext>
            </p:extLst>
          </p:nvPr>
        </p:nvGraphicFramePr>
        <p:xfrm>
          <a:off x="263343" y="929032"/>
          <a:ext cx="8390535" cy="3628289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5522977"/>
                <a:gridCol w="1492304"/>
                <a:gridCol w="1375254"/>
              </a:tblGrid>
              <a:tr h="36915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Old policy</a:t>
                      </a:r>
                      <a:r>
                        <a:rPr lang="en-US" sz="1200" baseline="0" dirty="0" smtClean="0"/>
                        <a:t> 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New policy 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39789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mmediate sharing of preprints 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8263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lf-archiving accepted manuscripts on a personal website or blog 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3023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nstitutional repositories can immediately ingest accepted manuscripts</a:t>
                      </a:r>
                      <a:r>
                        <a:rPr lang="en-US" sz="1200" baseline="0" dirty="0" smtClean="0"/>
                        <a:t> 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173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nstitutional repositories</a:t>
                      </a:r>
                      <a:r>
                        <a:rPr lang="en-US" sz="1200" baseline="0" dirty="0" smtClean="0"/>
                        <a:t> can immediately make manuscripts publicly available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en-US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200" rtl="0" eaLnBrk="1" latinLnBrk="0" hangingPunct="1"/>
                      <a:endParaRPr lang="en-US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5488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nstitutions can use accepted  manuscripts for</a:t>
                      </a:r>
                      <a:r>
                        <a:rPr lang="en-US" sz="1200" baseline="0" dirty="0" smtClean="0"/>
                        <a:t> internal purposes and private sharing 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en-US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0858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lf-archiving accepted manuscripts in a subject repository  after embargo 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en-US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5439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lf-archiving accepted</a:t>
                      </a:r>
                      <a:r>
                        <a:rPr lang="en-US" sz="1200" baseline="0" dirty="0" smtClean="0"/>
                        <a:t> manuscripts o</a:t>
                      </a:r>
                      <a:r>
                        <a:rPr lang="en-US" sz="1200" dirty="0" smtClean="0"/>
                        <a:t>n a commercial social sharing platform 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59" y="1325995"/>
            <a:ext cx="247163" cy="32997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313" y="1323456"/>
            <a:ext cx="247163" cy="32997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59" y="1779525"/>
            <a:ext cx="247163" cy="329975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313" y="1796197"/>
            <a:ext cx="247163" cy="329975"/>
          </a:xfrm>
          <a:prstGeom prst="rect">
            <a:avLst/>
          </a:prstGeom>
        </p:spPr>
      </p:pic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530" y="2314532"/>
            <a:ext cx="255651" cy="226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312" y="2262868"/>
            <a:ext cx="247163" cy="329975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3976" y="2779108"/>
            <a:ext cx="247129" cy="247129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3167" y="2819189"/>
            <a:ext cx="247129" cy="247129"/>
          </a:xfrm>
          <a:prstGeom prst="rect">
            <a:avLst/>
          </a:prstGeom>
        </p:spPr>
      </p:pic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9296" y="3271513"/>
            <a:ext cx="255651" cy="226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313" y="3271513"/>
            <a:ext cx="247163" cy="329975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5514" y="4215097"/>
            <a:ext cx="247129" cy="247129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4624" y="3706682"/>
            <a:ext cx="247129" cy="247129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6400" y="3703401"/>
            <a:ext cx="247163" cy="329975"/>
          </a:xfrm>
          <a:prstGeom prst="rect">
            <a:avLst/>
          </a:prstGeom>
        </p:spPr>
      </p:pic>
      <p:pic>
        <p:nvPicPr>
          <p:cNvPr id="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3976" y="4211394"/>
            <a:ext cx="255651" cy="226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905" y="5169993"/>
            <a:ext cx="247163" cy="329975"/>
          </a:xfrm>
          <a:prstGeom prst="rect">
            <a:avLst/>
          </a:prstGeom>
        </p:spPr>
      </p:pic>
      <p:sp>
        <p:nvSpPr>
          <p:cNvPr id="54" name="Rectangle 53"/>
          <p:cNvSpPr/>
          <p:nvPr/>
        </p:nvSpPr>
        <p:spPr>
          <a:xfrm>
            <a:off x="778802" y="5196471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 smtClean="0">
                <a:solidFill>
                  <a:schemeClr val="dk1"/>
                </a:solidFill>
              </a:rPr>
              <a:t>Yes</a:t>
            </a:r>
            <a:endParaRPr lang="en-US" sz="1400" dirty="0">
              <a:solidFill>
                <a:schemeClr val="dk1"/>
              </a:solidFill>
            </a:endParaRPr>
          </a:p>
        </p:txBody>
      </p:sp>
      <p:pic>
        <p:nvPicPr>
          <p:cNvPr id="5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616" y="5870113"/>
            <a:ext cx="255651" cy="226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Rectangle 55"/>
          <p:cNvSpPr/>
          <p:nvPr/>
        </p:nvSpPr>
        <p:spPr>
          <a:xfrm>
            <a:off x="792213" y="5820522"/>
            <a:ext cx="38529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dk1"/>
                </a:solidFill>
              </a:rPr>
              <a:t>W</a:t>
            </a:r>
            <a:r>
              <a:rPr lang="en-US" sz="1400" dirty="0" smtClean="0">
                <a:solidFill>
                  <a:schemeClr val="dk1"/>
                </a:solidFill>
              </a:rPr>
              <a:t>here we have an agreement in place </a:t>
            </a:r>
            <a:endParaRPr lang="en-US" sz="1400" dirty="0">
              <a:solidFill>
                <a:schemeClr val="dk1"/>
              </a:solidFill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616" y="6158622"/>
            <a:ext cx="247129" cy="247129"/>
          </a:xfrm>
          <a:prstGeom prst="rect">
            <a:avLst/>
          </a:prstGeom>
        </p:spPr>
      </p:pic>
      <p:sp>
        <p:nvSpPr>
          <p:cNvPr id="58" name="Rectangle 57"/>
          <p:cNvSpPr/>
          <p:nvPr/>
        </p:nvSpPr>
        <p:spPr>
          <a:xfrm>
            <a:off x="814159" y="6128299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 smtClean="0">
                <a:solidFill>
                  <a:schemeClr val="dk1"/>
                </a:solidFill>
              </a:rPr>
              <a:t>No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263343" y="4764543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Key</a:t>
            </a:r>
            <a:r>
              <a:rPr lang="en-US" dirty="0" smtClean="0">
                <a:solidFill>
                  <a:schemeClr val="dk1"/>
                </a:solidFill>
              </a:rPr>
              <a:t> </a:t>
            </a:r>
            <a:endParaRPr lang="en-US" dirty="0">
              <a:solidFill>
                <a:schemeClr val="dk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63343" y="5130636"/>
            <a:ext cx="4572000" cy="1487049"/>
          </a:xfrm>
          <a:prstGeom prst="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5-Point Star 33"/>
          <p:cNvSpPr/>
          <p:nvPr/>
        </p:nvSpPr>
        <p:spPr>
          <a:xfrm>
            <a:off x="442616" y="5534481"/>
            <a:ext cx="217274" cy="185252"/>
          </a:xfrm>
          <a:prstGeom prst="star5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/>
        </p:nvSpPr>
        <p:spPr>
          <a:xfrm>
            <a:off x="814159" y="5499377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 smtClean="0">
                <a:solidFill>
                  <a:schemeClr val="dk1"/>
                </a:solidFill>
              </a:rPr>
              <a:t>Yes, but only if posted voluntarily 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37" name="5-Point Star 36"/>
          <p:cNvSpPr/>
          <p:nvPr/>
        </p:nvSpPr>
        <p:spPr>
          <a:xfrm>
            <a:off x="6219296" y="2335229"/>
            <a:ext cx="217274" cy="185252"/>
          </a:xfrm>
          <a:prstGeom prst="star5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5-Point Star 39"/>
          <p:cNvSpPr/>
          <p:nvPr/>
        </p:nvSpPr>
        <p:spPr>
          <a:xfrm>
            <a:off x="6219296" y="2810046"/>
            <a:ext cx="217274" cy="185252"/>
          </a:xfrm>
          <a:prstGeom prst="star5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5350802" y="4704070"/>
            <a:ext cx="33030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We are also developing a range of services to make it easier for authors to access their accepted manuscripts, and for repositories to ingest metadata, smart links, and entitlement </a:t>
            </a:r>
            <a:r>
              <a:rPr lang="en-GB" smtClean="0"/>
              <a:t>info for </a:t>
            </a:r>
            <a:r>
              <a:rPr lang="en-GB" dirty="0" smtClean="0"/>
              <a:t>content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86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lsevier Content Slides">
  <a:themeElements>
    <a:clrScheme name="Elsevier Colours">
      <a:dk1>
        <a:srgbClr val="53565A"/>
      </a:dk1>
      <a:lt1>
        <a:sysClr val="window" lastClr="FFFFFF"/>
      </a:lt1>
      <a:dk2>
        <a:srgbClr val="FF8200"/>
      </a:dk2>
      <a:lt2>
        <a:srgbClr val="A7A8AA"/>
      </a:lt2>
      <a:accent1>
        <a:srgbClr val="007398"/>
      </a:accent1>
      <a:accent2>
        <a:srgbClr val="FF8200"/>
      </a:accent2>
      <a:accent3>
        <a:srgbClr val="53565A"/>
      </a:accent3>
      <a:accent4>
        <a:srgbClr val="00966C"/>
      </a:accent4>
      <a:accent5>
        <a:srgbClr val="41B6E6"/>
      </a:accent5>
      <a:accent6>
        <a:srgbClr val="CBC793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98</TotalTime>
  <Words>119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Elsevier Content Slides</vt:lpstr>
      <vt:lpstr>think-cell Slide</vt:lpstr>
      <vt:lpstr>What’s changed in Elsevier's policies?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ames, Christopher D (ELS-AMS)</dc:creator>
  <cp:lastModifiedBy>Reed Elsevier</cp:lastModifiedBy>
  <cp:revision>365</cp:revision>
  <dcterms:created xsi:type="dcterms:W3CDTF">2014-02-05T16:49:45Z</dcterms:created>
  <dcterms:modified xsi:type="dcterms:W3CDTF">2015-06-04T16:40:11Z</dcterms:modified>
</cp:coreProperties>
</file>